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1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0633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1921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INTELLIGENT FASTENER EXTENSION (IFX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199189"/>
            <a:ext cx="9903377" cy="37786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apabilities to automate fastener geometry creation and hardware assembl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9C6A737-49CE-4926-918F-6C65DE428B56}"/>
              </a:ext>
            </a:extLst>
          </p:cNvPr>
          <p:cNvGrpSpPr/>
          <p:nvPr/>
        </p:nvGrpSpPr>
        <p:grpSpPr>
          <a:xfrm>
            <a:off x="6096000" y="1869204"/>
            <a:ext cx="5693216" cy="4472887"/>
            <a:chOff x="6411134" y="1646770"/>
            <a:chExt cx="5693216" cy="4472887"/>
          </a:xfrm>
        </p:grpSpPr>
        <p:pic>
          <p:nvPicPr>
            <p:cNvPr id="14" name="Picture 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2039" y="2436095"/>
              <a:ext cx="4012311" cy="368356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1" name="Picture 3" descr="D:\000 - CAD Sales Enablement\000 - FY16 CAD Core Plays\FY16 Direct Package Upgrade Play\images\What-is-a-Generator-8.jp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11134" y="1646770"/>
              <a:ext cx="2990284" cy="25235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E3554A23-3157-4B60-BAF1-1E9ABDE6FB1C}"/>
              </a:ext>
            </a:extLst>
          </p:cNvPr>
          <p:cNvSpPr/>
          <p:nvPr/>
        </p:nvSpPr>
        <p:spPr>
          <a:xfrm>
            <a:off x="490760" y="1869202"/>
            <a:ext cx="1510147" cy="136271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E2FBD78-F21D-421B-AF00-58C6D319FDD9}"/>
              </a:ext>
            </a:extLst>
          </p:cNvPr>
          <p:cNvSpPr/>
          <p:nvPr/>
        </p:nvSpPr>
        <p:spPr>
          <a:xfrm>
            <a:off x="2141615" y="1869202"/>
            <a:ext cx="3776094" cy="13627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The target customer creates products that require assembly fabrication and/or scheduled service and maintenance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ener assembly allows equipment to be assembled and dis-assembled for transport, service and maintenance 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1E78E4-B67B-4CF6-8F68-5012D813D9A9}"/>
              </a:ext>
            </a:extLst>
          </p:cNvPr>
          <p:cNvSpPr/>
          <p:nvPr/>
        </p:nvSpPr>
        <p:spPr>
          <a:xfrm>
            <a:off x="490760" y="3311284"/>
            <a:ext cx="1510147" cy="52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2ADC5B3-58C4-40D9-986E-9CC4B4E3061B}"/>
              </a:ext>
            </a:extLst>
          </p:cNvPr>
          <p:cNvSpPr/>
          <p:nvPr/>
        </p:nvSpPr>
        <p:spPr>
          <a:xfrm>
            <a:off x="2141617" y="3311284"/>
            <a:ext cx="4077033" cy="521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>
                <a:solidFill>
                  <a:schemeClr val="tx1"/>
                </a:solidFill>
              </a:rPr>
              <a:t>Reduce product development cost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16856A-7204-47FB-A90D-810C90466952}"/>
              </a:ext>
            </a:extLst>
          </p:cNvPr>
          <p:cNvSpPr/>
          <p:nvPr/>
        </p:nvSpPr>
        <p:spPr>
          <a:xfrm>
            <a:off x="490760" y="3912399"/>
            <a:ext cx="1510147" cy="9267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C513C5C-1C4E-452B-9FFF-0EF8BA98FF0F}"/>
              </a:ext>
            </a:extLst>
          </p:cNvPr>
          <p:cNvSpPr/>
          <p:nvPr/>
        </p:nvSpPr>
        <p:spPr>
          <a:xfrm>
            <a:off x="2141614" y="3902239"/>
            <a:ext cx="4459001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ener standardization and selec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learance and alignment geometry cre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ener and configuration hardware assembl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ener valida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180784A-6005-4690-B68D-409DB2832509}"/>
              </a:ext>
            </a:extLst>
          </p:cNvPr>
          <p:cNvSpPr/>
          <p:nvPr/>
        </p:nvSpPr>
        <p:spPr>
          <a:xfrm>
            <a:off x="490760" y="4918506"/>
            <a:ext cx="1510147" cy="96235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2574F1-46C4-4D34-B0FA-0FBCDA0E616C}"/>
              </a:ext>
            </a:extLst>
          </p:cNvPr>
          <p:cNvSpPr/>
          <p:nvPr/>
        </p:nvSpPr>
        <p:spPr>
          <a:xfrm>
            <a:off x="2141615" y="5081066"/>
            <a:ext cx="539710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apid fastener and hardware selec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creation of fastener geometr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placement of fastener and configuration hardwar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C3AD320-7269-45FD-B674-EB23B2B1684F}"/>
              </a:ext>
            </a:extLst>
          </p:cNvPr>
          <p:cNvCxnSpPr>
            <a:cxnSpLocks/>
          </p:cNvCxnSpPr>
          <p:nvPr/>
        </p:nvCxnSpPr>
        <p:spPr>
          <a:xfrm>
            <a:off x="2097892" y="1869204"/>
            <a:ext cx="0" cy="136271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2A7C279-8D21-4402-B073-B1BECDB9F292}"/>
              </a:ext>
            </a:extLst>
          </p:cNvPr>
          <p:cNvCxnSpPr>
            <a:cxnSpLocks/>
          </p:cNvCxnSpPr>
          <p:nvPr/>
        </p:nvCxnSpPr>
        <p:spPr>
          <a:xfrm>
            <a:off x="2097892" y="3311282"/>
            <a:ext cx="0" cy="5217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1ED6199-AD21-424A-840D-136799337779}"/>
              </a:ext>
            </a:extLst>
          </p:cNvPr>
          <p:cNvCxnSpPr>
            <a:cxnSpLocks/>
          </p:cNvCxnSpPr>
          <p:nvPr/>
        </p:nvCxnSpPr>
        <p:spPr>
          <a:xfrm>
            <a:off x="2097892" y="3912397"/>
            <a:ext cx="0" cy="926743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490EE98-543A-4126-BFA1-A210EAAD3914}"/>
              </a:ext>
            </a:extLst>
          </p:cNvPr>
          <p:cNvCxnSpPr>
            <a:cxnSpLocks/>
          </p:cNvCxnSpPr>
          <p:nvPr/>
        </p:nvCxnSpPr>
        <p:spPr>
          <a:xfrm>
            <a:off x="2097892" y="4918504"/>
            <a:ext cx="0" cy="96235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953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98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INTELLIGENT FASTENER EXTENSION (IF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10:0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